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17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987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1317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HUMAN FACTORS EXTENSION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60" y="1176162"/>
            <a:ext cx="9802753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Validate and optimize products for human interaction, usability and safet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7C2AD51-1AB1-4784-AE19-492B929D5521}"/>
              </a:ext>
            </a:extLst>
          </p:cNvPr>
          <p:cNvGrpSpPr/>
          <p:nvPr/>
        </p:nvGrpSpPr>
        <p:grpSpPr>
          <a:xfrm>
            <a:off x="6778364" y="1601009"/>
            <a:ext cx="4806530" cy="4776864"/>
            <a:chOff x="7130479" y="1223239"/>
            <a:chExt cx="5371305" cy="5338153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E8EAED"/>
                </a:clrFrom>
                <a:clrTo>
                  <a:srgbClr val="E8EA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30479" y="1223239"/>
              <a:ext cx="3085643" cy="2632832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611908" y="4013046"/>
              <a:ext cx="2433522" cy="1423531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E8EAED"/>
                </a:clrFrom>
                <a:clrTo>
                  <a:srgbClr val="E8EA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449774" y="3502327"/>
              <a:ext cx="2052010" cy="3059065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5E81F7B3-5985-4A02-BDDE-7D5450B9A03A}"/>
              </a:ext>
            </a:extLst>
          </p:cNvPr>
          <p:cNvSpPr/>
          <p:nvPr/>
        </p:nvSpPr>
        <p:spPr>
          <a:xfrm>
            <a:off x="505187" y="1884583"/>
            <a:ext cx="1510147" cy="65836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9C8B85C-8348-44F6-B204-DF7DCB9DCB71}"/>
              </a:ext>
            </a:extLst>
          </p:cNvPr>
          <p:cNvSpPr/>
          <p:nvPr/>
        </p:nvSpPr>
        <p:spPr>
          <a:xfrm>
            <a:off x="2156041" y="1884583"/>
            <a:ext cx="5025758" cy="658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ustomers that need to optimize products for human interaction, safety, comfort and usability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3893D0D-2C33-46CE-864E-E4D7FAE204DC}"/>
              </a:ext>
            </a:extLst>
          </p:cNvPr>
          <p:cNvSpPr/>
          <p:nvPr/>
        </p:nvSpPr>
        <p:spPr>
          <a:xfrm>
            <a:off x="505187" y="2609328"/>
            <a:ext cx="1510147" cy="7504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4B5FFF-6215-4DD8-84F0-CCAC97084E53}"/>
              </a:ext>
            </a:extLst>
          </p:cNvPr>
          <p:cNvSpPr/>
          <p:nvPr/>
        </p:nvSpPr>
        <p:spPr>
          <a:xfrm>
            <a:off x="2156045" y="2609328"/>
            <a:ext cx="4720954" cy="7504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Validate product usability and human interac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99377E-3679-435A-A2B5-ECF650E4FCE9}"/>
              </a:ext>
            </a:extLst>
          </p:cNvPr>
          <p:cNvSpPr/>
          <p:nvPr/>
        </p:nvSpPr>
        <p:spPr>
          <a:xfrm>
            <a:off x="505187" y="3426189"/>
            <a:ext cx="1510147" cy="67129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A10AF5-8646-4D52-9A68-CD5A5D476A4C}"/>
              </a:ext>
            </a:extLst>
          </p:cNvPr>
          <p:cNvSpPr/>
          <p:nvPr/>
        </p:nvSpPr>
        <p:spPr>
          <a:xfrm>
            <a:off x="2156041" y="3629389"/>
            <a:ext cx="3977246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sign for human interac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AFF733E-638F-4335-8F0F-0DD513FE5C91}"/>
              </a:ext>
            </a:extLst>
          </p:cNvPr>
          <p:cNvSpPr/>
          <p:nvPr/>
        </p:nvSpPr>
        <p:spPr>
          <a:xfrm>
            <a:off x="505187" y="4160454"/>
            <a:ext cx="1510147" cy="20157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2F38613-4B3D-41AC-8260-5CF2D4193B9C}"/>
              </a:ext>
            </a:extLst>
          </p:cNvPr>
          <p:cNvSpPr/>
          <p:nvPr/>
        </p:nvSpPr>
        <p:spPr>
          <a:xfrm>
            <a:off x="2156042" y="4160454"/>
            <a:ext cx="5850995" cy="2015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Quickly insert and customize digital human models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Manikin libraries speed the selection and reuse of manikin data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Easily manipulate manikin posture using standard Creo </a:t>
            </a:r>
            <a:b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Parametric functionality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Define vision cones and reach enveloped to validate design considerations and field of view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reate vision windows to “see” what the manikin can se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1A27AF8-7F96-4C72-A002-80482ECC5444}"/>
              </a:ext>
            </a:extLst>
          </p:cNvPr>
          <p:cNvCxnSpPr>
            <a:cxnSpLocks/>
          </p:cNvCxnSpPr>
          <p:nvPr/>
        </p:nvCxnSpPr>
        <p:spPr>
          <a:xfrm>
            <a:off x="2112319" y="1884586"/>
            <a:ext cx="0" cy="65836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6628176-A977-4C61-A4A3-50280180D9A0}"/>
              </a:ext>
            </a:extLst>
          </p:cNvPr>
          <p:cNvCxnSpPr>
            <a:cxnSpLocks/>
          </p:cNvCxnSpPr>
          <p:nvPr/>
        </p:nvCxnSpPr>
        <p:spPr>
          <a:xfrm>
            <a:off x="2112319" y="2609328"/>
            <a:ext cx="0" cy="75048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37D57AD-350D-4981-83F3-FC0AE10D44E3}"/>
              </a:ext>
            </a:extLst>
          </p:cNvPr>
          <p:cNvCxnSpPr>
            <a:cxnSpLocks/>
          </p:cNvCxnSpPr>
          <p:nvPr/>
        </p:nvCxnSpPr>
        <p:spPr>
          <a:xfrm>
            <a:off x="2112319" y="3426186"/>
            <a:ext cx="0" cy="67129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D8A917A-6203-400D-A229-FD417EF2277D}"/>
              </a:ext>
            </a:extLst>
          </p:cNvPr>
          <p:cNvCxnSpPr>
            <a:cxnSpLocks/>
          </p:cNvCxnSpPr>
          <p:nvPr/>
        </p:nvCxnSpPr>
        <p:spPr>
          <a:xfrm>
            <a:off x="2112319" y="4160452"/>
            <a:ext cx="0" cy="2015713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9142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8</TotalTime>
  <Words>111</Words>
  <Application>Microsoft Office PowerPoint</Application>
  <PresentationFormat>Widescreen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HUMAN FACTORS EXTENSION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2</cp:revision>
  <dcterms:created xsi:type="dcterms:W3CDTF">2021-10-13T03:56:04Z</dcterms:created>
  <dcterms:modified xsi:type="dcterms:W3CDTF">2023-10-16T10:3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